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handoutMasterIdLst>
    <p:handoutMasterId r:id="rId5"/>
  </p:handoutMasterIdLst>
  <p:sldIdLst>
    <p:sldId id="307" r:id="rId2"/>
    <p:sldId id="286" r:id="rId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348"/>
    <p:restoredTop sz="98728" autoAdjust="0"/>
  </p:normalViewPr>
  <p:slideViewPr>
    <p:cSldViewPr snapToGrid="0" snapToObjects="1">
      <p:cViewPr varScale="1">
        <p:scale>
          <a:sx n="131" d="100"/>
          <a:sy n="131" d="100"/>
        </p:scale>
        <p:origin x="616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3304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8F2C43-09D1-E84C-B9E9-48FA508163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294016-362D-2C42-9995-B5F645F4473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65A95-D828-FF40-A10D-2A76D7442E84}" type="datetimeFigureOut">
              <a:rPr lang="en-US" smtClean="0"/>
              <a:t>12/12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FD1E8D-148B-8046-8F6B-83AD6E5DBC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521D76-D8AA-3746-965E-64A13574648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E1EB80-7F19-A549-9896-055562E8FA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773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E0C983-061F-254A-8232-A9BE5F9482E0}" type="datetimeFigureOut">
              <a:rPr lang="en-US" smtClean="0"/>
              <a:t>12/1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5435E3-15EE-4242-8736-A9DA19FB6B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200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1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9832"/>
            <a:ext cx="9144000" cy="589214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9871" y="252621"/>
            <a:ext cx="7720831" cy="12210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70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9870" y="1748584"/>
            <a:ext cx="7720832" cy="17526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500">
                <a:solidFill>
                  <a:srgbClr val="FFFFFF"/>
                </a:solidFill>
              </a:defRPr>
            </a:lvl1pPr>
            <a:lvl2pPr marL="342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403" y="6255924"/>
            <a:ext cx="4200742" cy="373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16995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8300" y="0"/>
            <a:ext cx="7629525" cy="455295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A655226-6E4F-8847-85CD-AF95F3D3F39A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81" y="1829100"/>
            <a:ext cx="6857112" cy="2286000"/>
          </a:xfrm>
        </p:spPr>
        <p:txBody>
          <a:bodyPr anchor="t">
            <a:noAutofit/>
          </a:bodyPr>
          <a:lstStyle>
            <a:lvl1pPr algn="l">
              <a:defRPr sz="2701" b="0" i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940" y="6451808"/>
            <a:ext cx="1401811" cy="26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682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21" userDrawn="1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940" y="6451808"/>
            <a:ext cx="1401811" cy="26889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lum bright="5000"/>
          </a:blip>
          <a:stretch>
            <a:fillRect/>
          </a:stretch>
        </p:blipFill>
        <p:spPr>
          <a:xfrm>
            <a:off x="1518300" y="0"/>
            <a:ext cx="7629525" cy="455295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A655226-6E4F-8847-85CD-AF95F3D3F39A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79" y="1829100"/>
            <a:ext cx="6857113" cy="2286000"/>
          </a:xfrm>
        </p:spPr>
        <p:txBody>
          <a:bodyPr anchor="t">
            <a:noAutofit/>
          </a:bodyPr>
          <a:lstStyle>
            <a:lvl1pPr algn="l">
              <a:defRPr sz="2701" b="0" i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744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21" userDrawn="1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872" y="1054849"/>
            <a:ext cx="4112299" cy="52120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754216" y="1054849"/>
            <a:ext cx="4112299" cy="52120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792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8679" y="723900"/>
            <a:ext cx="8587834" cy="266700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872" y="1397000"/>
            <a:ext cx="4112299" cy="486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754216" y="1397000"/>
            <a:ext cx="4112299" cy="486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5687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4" userDrawn="1">
          <p15:clr>
            <a:srgbClr val="C35E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4381" y="1143000"/>
            <a:ext cx="0" cy="5030788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278683" y="3646488"/>
            <a:ext cx="8586761" cy="0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681" y="1108660"/>
            <a:ext cx="4112299" cy="2423160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4754216" y="1108660"/>
            <a:ext cx="4112299" cy="2423160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4"/>
          </p:nvPr>
        </p:nvSpPr>
        <p:spPr>
          <a:xfrm>
            <a:off x="278681" y="3841115"/>
            <a:ext cx="4112299" cy="2423160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5"/>
          </p:nvPr>
        </p:nvSpPr>
        <p:spPr>
          <a:xfrm>
            <a:off x="4754216" y="3841115"/>
            <a:ext cx="4112299" cy="2423160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344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4572000" y="1485900"/>
            <a:ext cx="2381" cy="4687888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279754" y="3809692"/>
            <a:ext cx="8586761" cy="0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8679" y="723900"/>
            <a:ext cx="8587834" cy="266700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681" y="1426159"/>
            <a:ext cx="4112299" cy="2249424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4754216" y="1426159"/>
            <a:ext cx="4112299" cy="2249424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/>
          </p:nvPr>
        </p:nvSpPr>
        <p:spPr>
          <a:xfrm>
            <a:off x="278681" y="4014990"/>
            <a:ext cx="4112299" cy="2249286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4754216" y="4014990"/>
            <a:ext cx="4112299" cy="2249286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6549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4" userDrawn="1">
          <p15:clr>
            <a:srgbClr val="C35E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278679" y="1108664"/>
            <a:ext cx="2636730" cy="5155615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3254231" y="1108664"/>
            <a:ext cx="2636730" cy="5155615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4"/>
          </p:nvPr>
        </p:nvSpPr>
        <p:spPr>
          <a:xfrm>
            <a:off x="6229783" y="1108664"/>
            <a:ext cx="2636730" cy="5155615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6125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79871" y="1054853"/>
            <a:ext cx="8586642" cy="9177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278679" y="2109331"/>
            <a:ext cx="2636730" cy="4154947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3254231" y="2109331"/>
            <a:ext cx="2636730" cy="4154947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4"/>
          </p:nvPr>
        </p:nvSpPr>
        <p:spPr>
          <a:xfrm>
            <a:off x="6229783" y="2109331"/>
            <a:ext cx="2636730" cy="4154947"/>
          </a:xfrm>
        </p:spPr>
        <p:txBody>
          <a:bodyPr>
            <a:normAutofit/>
          </a:bodyPr>
          <a:lstStyle>
            <a:lvl1pPr>
              <a:spcAft>
                <a:spcPts val="450"/>
              </a:spcAft>
              <a:defRPr sz="1050" b="1"/>
            </a:lvl1pPr>
            <a:lvl2pPr marL="0" indent="0">
              <a:spcAft>
                <a:spcPts val="450"/>
              </a:spcAft>
              <a:buFontTx/>
              <a:buNone/>
              <a:defRPr sz="1050"/>
            </a:lvl2pPr>
            <a:lvl3pPr marL="169114" indent="-169114">
              <a:spcAft>
                <a:spcPts val="450"/>
              </a:spcAft>
              <a:tabLst/>
              <a:defRPr sz="1050"/>
            </a:lvl3pPr>
            <a:lvl4pPr marL="342991" indent="-170305">
              <a:spcAft>
                <a:spcPts val="450"/>
              </a:spcAft>
              <a:defRPr sz="1050"/>
            </a:lvl4pPr>
            <a:lvl5pPr marL="516869" indent="-171496">
              <a:spcAft>
                <a:spcPts val="45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8516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4310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779168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651250"/>
          </a:xfrm>
          <a:solidFill>
            <a:schemeClr val="bg2"/>
          </a:solidFill>
        </p:spPr>
        <p:txBody>
          <a:bodyPr/>
          <a:lstStyle>
            <a:lvl1pPr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Picture here. Place photo credit on top of pictur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9871" y="3874000"/>
            <a:ext cx="7720832" cy="12210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70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9871" y="5253540"/>
            <a:ext cx="4166416" cy="100756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342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403" y="6255924"/>
            <a:ext cx="4200742" cy="373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7254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9" descr="tr_hrz_rgb_pos"/>
          <p:cNvPicPr>
            <a:picLocks noChangeAspect="1" noChangeArrowheads="1"/>
          </p:cNvPicPr>
          <p:nvPr/>
        </p:nvPicPr>
        <p:blipFill>
          <a:blip r:embed="rId6" cstate="print"/>
          <a:srcRect b="20689"/>
          <a:stretch>
            <a:fillRect/>
          </a:stretch>
        </p:blipFill>
        <p:spPr bwMode="auto">
          <a:xfrm>
            <a:off x="385763" y="6324600"/>
            <a:ext cx="1687512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25"/>
          <p:cNvSpPr>
            <a:spLocks noChangeShapeType="1"/>
          </p:cNvSpPr>
          <p:nvPr/>
        </p:nvSpPr>
        <p:spPr bwMode="auto">
          <a:xfrm>
            <a:off x="381000" y="1050925"/>
            <a:ext cx="8382000" cy="0"/>
          </a:xfrm>
          <a:prstGeom prst="line">
            <a:avLst/>
          </a:prstGeom>
          <a:noFill/>
          <a:ln w="24130" cap="rnd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4D4D4D"/>
              </a:solidFill>
              <a:latin typeface="Arial"/>
            </a:endParaRPr>
          </a:p>
        </p:txBody>
      </p:sp>
      <p:sp>
        <p:nvSpPr>
          <p:cNvPr id="6" name="Text Box 26"/>
          <p:cNvSpPr txBox="1">
            <a:spLocks noChangeArrowheads="1"/>
          </p:cNvSpPr>
          <p:nvPr/>
        </p:nvSpPr>
        <p:spPr bwMode="gray">
          <a:xfrm>
            <a:off x="6540500" y="6684963"/>
            <a:ext cx="2214563" cy="1222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  <a:buFont typeface="Arial" pitchFamily="34" charset="0"/>
              <a:buNone/>
            </a:pPr>
            <a:r>
              <a:rPr lang="en-US" sz="800" i="1">
                <a:solidFill>
                  <a:srgbClr val="4B4B4B"/>
                </a:solidFill>
                <a:latin typeface="Arial"/>
                <a:cs typeface="Arial" pitchFamily="34" charset="0"/>
              </a:rPr>
              <a:t>CONFIDENTIAL – NOT FOR REDISTRIBUTION</a:t>
            </a:r>
          </a:p>
        </p:txBody>
      </p:sp>
      <p:sp>
        <p:nvSpPr>
          <p:cNvPr id="7" name="Text Box 40"/>
          <p:cNvSpPr txBox="1">
            <a:spLocks noChangeArrowheads="1"/>
          </p:cNvSpPr>
          <p:nvPr/>
        </p:nvSpPr>
        <p:spPr bwMode="gray">
          <a:xfrm>
            <a:off x="8686800" y="6638925"/>
            <a:ext cx="457200" cy="231775"/>
          </a:xfrm>
          <a:prstGeom prst="rect">
            <a:avLst/>
          </a:prstGeom>
          <a:noFill/>
          <a:ln>
            <a:noFill/>
          </a:ln>
          <a:extLst/>
        </p:spPr>
        <p:txBody>
          <a:bodyPr lIns="45720" rIns="45720" anchor="ctr">
            <a:spAutoFit/>
          </a:bodyPr>
          <a:lstStyle/>
          <a:p>
            <a:pPr algn="ctr" eaLnBrk="0" hangingPunct="0">
              <a:spcAft>
                <a:spcPct val="10000"/>
              </a:spcAft>
            </a:pPr>
            <a:fld id="{3D39009C-25A5-4E36-9B1C-012B4B36C268}" type="slidenum">
              <a:rPr lang="en-US" sz="900" b="1">
                <a:solidFill>
                  <a:srgbClr val="FF8000"/>
                </a:solidFill>
                <a:latin typeface="Arial"/>
                <a:cs typeface="Arial" pitchFamily="34" charset="0"/>
              </a:rPr>
              <a:pPr algn="ctr" eaLnBrk="0" hangingPunct="0">
                <a:spcAft>
                  <a:spcPct val="10000"/>
                </a:spcAft>
              </a:pPr>
              <a:t>‹#›</a:t>
            </a:fld>
            <a:endParaRPr lang="en-US" sz="900" b="1">
              <a:solidFill>
                <a:srgbClr val="FF8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0681" y="152400"/>
            <a:ext cx="8402637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62950" y="6388100"/>
            <a:ext cx="457200" cy="2317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B4B4B"/>
                </a:solidFill>
                <a:cs typeface="Arial" pitchFamily="34" charset="0"/>
              </a:defRPr>
            </a:lvl1pPr>
          </a:lstStyle>
          <a:p>
            <a:fld id="{387844D7-65F1-414E-A26E-8435268F7393}" type="slidenum">
              <a:rPr lang="en-US">
                <a:latin typeface="Arial"/>
              </a:rPr>
              <a:pPr/>
              <a:t>‹#›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58109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3"/>
          <p:cNvSpPr>
            <a:spLocks noGrp="1" noChangeArrowheads="1"/>
          </p:cNvSpPr>
          <p:nvPr>
            <p:ph idx="1"/>
          </p:nvPr>
        </p:nvSpPr>
        <p:spPr bwMode="gray">
          <a:xfrm>
            <a:off x="381003" y="1462096"/>
            <a:ext cx="8415294" cy="9756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marL="183600" indent="-183600" algn="l" defTabSz="914400" rtl="0" eaLnBrk="1" fontAlgn="base" latinLnBrk="0" hangingPunct="1">
              <a:lnSpc>
                <a:spcPct val="100000"/>
              </a:lnSpc>
              <a:spcBef>
                <a:spcPct val="95000"/>
              </a:spcBef>
              <a:spcAft>
                <a:spcPct val="55000"/>
              </a:spcAft>
              <a:buClr>
                <a:schemeClr val="tx2"/>
              </a:buClr>
              <a:buFont typeface="Wingdings" pitchFamily="2" charset="2"/>
              <a:buChar char="§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55000"/>
              </a:spcAft>
              <a:buClr>
                <a:schemeClr val="tx2"/>
              </a:buClr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55000"/>
              </a:spcAft>
              <a:buClr>
                <a:schemeClr val="tx2"/>
              </a:buClr>
              <a:defRPr lang="en-US" sz="1400" dirty="0" smtClean="0">
                <a:solidFill>
                  <a:schemeClr val="tx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9752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4572000" cy="6858000"/>
          </a:xfrm>
          <a:solidFill>
            <a:schemeClr val="bg2"/>
          </a:solidFill>
        </p:spPr>
        <p:txBody>
          <a:bodyPr anchor="ctr"/>
          <a:lstStyle>
            <a:lvl1pPr algn="ctr"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Picture here. Place photo credit </a:t>
            </a:r>
            <a:br>
              <a:rPr lang="en-US"/>
            </a:br>
            <a:r>
              <a:rPr lang="en-US"/>
              <a:t>on top of picture.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50678" y="250829"/>
            <a:ext cx="4015835" cy="1743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70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50678" y="2243640"/>
            <a:ext cx="4015835" cy="100756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342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403" y="6255924"/>
            <a:ext cx="4200742" cy="373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14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871" y="288088"/>
            <a:ext cx="7720832" cy="428678"/>
          </a:xfrm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871" y="1054849"/>
            <a:ext cx="7720832" cy="52120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149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871" y="288088"/>
            <a:ext cx="7720832" cy="4286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8682" y="723900"/>
            <a:ext cx="7722023" cy="266700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871" y="1397001"/>
            <a:ext cx="7720832" cy="48705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7903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24" userDrawn="1">
          <p15:clr>
            <a:srgbClr val="C35E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66666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871" y="288088"/>
            <a:ext cx="7720832" cy="4286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871" y="1054849"/>
            <a:ext cx="7720832" cy="5212080"/>
          </a:xfrm>
        </p:spPr>
        <p:txBody>
          <a:bodyPr/>
          <a:lstStyle>
            <a:lvl1pPr marL="685983" indent="-685983">
              <a:spcAft>
                <a:spcPts val="600"/>
              </a:spcAft>
              <a:tabLst>
                <a:tab pos="685983" algn="l"/>
              </a:tabLst>
              <a:defRPr sz="1500"/>
            </a:lvl1pPr>
            <a:lvl2pPr marL="856288" indent="-170305">
              <a:buFont typeface="Lucida Grande"/>
              <a:buChar char="–"/>
              <a:defRPr sz="1350"/>
            </a:lvl2pPr>
            <a:lvl3pPr marL="1025402" indent="-169114">
              <a:buFont typeface="Arial"/>
              <a:buChar char="•"/>
              <a:defRPr sz="1200"/>
            </a:lvl3pPr>
            <a:lvl4pPr marL="1200470" indent="-171496">
              <a:buFont typeface="Lucida Grande"/>
              <a:buChar char="–"/>
              <a:defRPr sz="1050"/>
            </a:lvl4pPr>
            <a:lvl5pPr marL="1371966" indent="-169114">
              <a:buFont typeface="Arial"/>
              <a:buChar char="•"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226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A655226-6E4F-8847-85CD-AF95F3D3F39A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490" y="1833350"/>
            <a:ext cx="7722023" cy="1692275"/>
          </a:xfrm>
        </p:spPr>
        <p:txBody>
          <a:bodyPr anchor="t">
            <a:noAutofit/>
          </a:bodyPr>
          <a:lstStyle>
            <a:lvl1pPr algn="l">
              <a:defRPr sz="2701" b="0" i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940" y="6451808"/>
            <a:ext cx="1401811" cy="26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829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23" userDrawn="1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a Ink-Sav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A655226-6E4F-8847-85CD-AF95F3D3F39A}" type="slidenum">
              <a:rPr lang="en-US" smtClean="0">
                <a:solidFill>
                  <a:srgbClr val="4D4D4D"/>
                </a:solidFill>
                <a:latin typeface="Arial"/>
              </a:rPr>
              <a:pPr/>
              <a:t>‹#›</a:t>
            </a:fld>
            <a:endParaRPr lang="en-US">
              <a:solidFill>
                <a:srgbClr val="4D4D4D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4D4D4D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82" y="1828805"/>
            <a:ext cx="7722023" cy="1692275"/>
          </a:xfrm>
        </p:spPr>
        <p:txBody>
          <a:bodyPr anchor="t">
            <a:noAutofit/>
          </a:bodyPr>
          <a:lstStyle>
            <a:lvl1pPr algn="l">
              <a:defRPr sz="2701" b="0" i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209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21" userDrawn="1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A655226-6E4F-8847-85CD-AF95F3D3F39A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  <a:latin typeface="Arial"/>
              </a:rPr>
              <a:t>Edit presentation title on Slide Master using Insert &gt; Header &amp; Foo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82" y="1829106"/>
            <a:ext cx="7722023" cy="1692275"/>
          </a:xfrm>
        </p:spPr>
        <p:txBody>
          <a:bodyPr anchor="t">
            <a:noAutofit/>
          </a:bodyPr>
          <a:lstStyle>
            <a:lvl1pPr algn="l">
              <a:defRPr sz="2701" b="0" i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940" y="6451808"/>
            <a:ext cx="1401811" cy="26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693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21" userDrawn="1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20"/>
          <a:stretch/>
        </p:blipFill>
        <p:spPr>
          <a:xfrm>
            <a:off x="7474688" y="6450122"/>
            <a:ext cx="1452456" cy="271403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79872" y="6553201"/>
            <a:ext cx="290097" cy="30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>
                <a:solidFill>
                  <a:schemeClr val="accent6"/>
                </a:solidFill>
              </a:defRPr>
            </a:lvl1pPr>
          </a:lstStyle>
          <a:p>
            <a:fld id="{0A655226-6E4F-8847-85CD-AF95F3D3F39A}" type="slidenum">
              <a:rPr lang="en-US" smtClean="0">
                <a:solidFill>
                  <a:srgbClr val="666666"/>
                </a:solidFill>
                <a:latin typeface="Arial"/>
                <a:ea typeface="ＭＳ Ｐゴシック" pitchFamily="52" charset="-128"/>
              </a:rPr>
              <a:pPr/>
              <a:t>‹#›</a:t>
            </a:fld>
            <a:endParaRPr lang="en-US">
              <a:solidFill>
                <a:srgbClr val="666666"/>
              </a:solidFill>
              <a:latin typeface="Arial"/>
              <a:ea typeface="ＭＳ Ｐゴシック" pitchFamily="52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8796" y="6553206"/>
            <a:ext cx="3992015" cy="3047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666666"/>
                </a:solidFill>
                <a:latin typeface="Arial"/>
                <a:ea typeface="ＭＳ Ｐゴシック" pitchFamily="52" charset="-128"/>
              </a:rPr>
              <a:t>Edit presentation title on Slide Master using Insert &gt; Header &amp; Footer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9871" y="288088"/>
            <a:ext cx="8586642" cy="4286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9870" y="1054849"/>
            <a:ext cx="7717260" cy="52120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8149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1" r:id="rId20"/>
    <p:sldLayoutId id="2147483682" r:id="rId21"/>
  </p:sldLayoutIdLst>
  <p:hf hdr="0" dt="0"/>
  <p:txStyles>
    <p:titleStyle>
      <a:lvl1pPr algn="l" defTabSz="342991" rtl="0" eaLnBrk="1" latinLnBrk="0" hangingPunct="1">
        <a:lnSpc>
          <a:spcPct val="10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342991" rtl="0" eaLnBrk="1" latinLnBrk="0" hangingPunct="1">
        <a:lnSpc>
          <a:spcPct val="100000"/>
        </a:lnSpc>
        <a:spcBef>
          <a:spcPts val="0"/>
        </a:spcBef>
        <a:spcAft>
          <a:spcPts val="750"/>
        </a:spcAft>
        <a:buFontTx/>
        <a:buNone/>
        <a:defRPr sz="16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0305" indent="-170305" algn="l" defTabSz="34299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91" indent="-169114" algn="l" defTabSz="342991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Lucida Grande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14487" indent="-171496" algn="l" defTabSz="342991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88365" indent="-169114" algn="l" defTabSz="342991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Arial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811032" indent="-122667" algn="l" defTabSz="3429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Arial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932937" indent="-123477" algn="l" defTabSz="3429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Lucida Grande"/>
        <a:buChar char="–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3429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3429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3429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8">
          <p15:clr>
            <a:srgbClr val="5ACBF0"/>
          </p15:clr>
        </p15:guide>
        <p15:guide id="3" orient="horz" pos="228">
          <p15:clr>
            <a:srgbClr val="5ACBF0"/>
          </p15:clr>
        </p15:guide>
        <p15:guide id="4" orient="horz" pos="707">
          <p15:clr>
            <a:srgbClr val="5ACBF0"/>
          </p15:clr>
        </p15:guide>
        <p15:guide id="5" pos="5585">
          <p15:clr>
            <a:srgbClr val="5ACBF0"/>
          </p15:clr>
        </p15:guide>
        <p15:guide id="6" pos="175">
          <p15:clr>
            <a:srgbClr val="5ACBF0"/>
          </p15:clr>
        </p15:guide>
        <p15:guide id="8" pos="5040">
          <p15:clr>
            <a:srgbClr val="5ACBF0"/>
          </p15:clr>
        </p15:guide>
        <p15:guide id="9" orient="horz" pos="4206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jp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gif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toolbox.google.com/datasetsearch" TargetMode="External"/><Relationship Id="rId7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067E0-548C-F747-BE9D-380962017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899" y="859858"/>
            <a:ext cx="8801101" cy="923324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Built in few hours a Sentiment Analysis on Twitter using Django, Docker containers, Python &amp; Google NLP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D24DEA-E4E5-944C-9D8C-DD12314026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138" y="1564515"/>
            <a:ext cx="952500" cy="952500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348C6AB-4591-AA40-A27E-AD7C584568FB}"/>
              </a:ext>
            </a:extLst>
          </p:cNvPr>
          <p:cNvCxnSpPr>
            <a:cxnSpLocks/>
          </p:cNvCxnSpPr>
          <p:nvPr/>
        </p:nvCxnSpPr>
        <p:spPr>
          <a:xfrm>
            <a:off x="1436458" y="1914512"/>
            <a:ext cx="9611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B2BF170-4907-4C46-83E3-5E577AA4C12C}"/>
              </a:ext>
            </a:extLst>
          </p:cNvPr>
          <p:cNvSpPr txBox="1"/>
          <p:nvPr/>
        </p:nvSpPr>
        <p:spPr>
          <a:xfrm>
            <a:off x="0" y="2562284"/>
            <a:ext cx="216527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Twitter API using </a:t>
            </a:r>
            <a:r>
              <a:rPr lang="en-US" sz="1350" dirty="0" err="1"/>
              <a:t>Tweepy</a:t>
            </a:r>
            <a:r>
              <a:rPr lang="en-US" sz="1350" dirty="0"/>
              <a:t> </a:t>
            </a:r>
          </a:p>
          <a:p>
            <a:r>
              <a:rPr lang="en-US" sz="1350" dirty="0"/>
              <a:t>Python Library &amp; Twitter Dev Accoun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6D64B3-4058-CA4C-AC52-5022492E43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0036" y="1434203"/>
            <a:ext cx="873622" cy="87362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C978D85-DD24-A84D-AC61-41B1722B242D}"/>
              </a:ext>
            </a:extLst>
          </p:cNvPr>
          <p:cNvSpPr txBox="1"/>
          <p:nvPr/>
        </p:nvSpPr>
        <p:spPr>
          <a:xfrm>
            <a:off x="5571718" y="2377751"/>
            <a:ext cx="23566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Local Docker running </a:t>
            </a:r>
            <a:r>
              <a:rPr lang="en-US" sz="1350" dirty="0" err="1"/>
              <a:t>PostGresql</a:t>
            </a:r>
            <a:r>
              <a:rPr lang="en-US" sz="1350" dirty="0"/>
              <a:t> datab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E4B02E8-D80A-E44F-8194-711599D8D9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5611" y="1415460"/>
            <a:ext cx="1114425" cy="86677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17690C9-A2CD-6D4B-A7EB-5F4DC81B20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02965" y="1598983"/>
            <a:ext cx="1128096" cy="60917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CBB2DA7-90B6-5E42-BA5D-651E805B4BD0}"/>
              </a:ext>
            </a:extLst>
          </p:cNvPr>
          <p:cNvSpPr txBox="1"/>
          <p:nvPr/>
        </p:nvSpPr>
        <p:spPr>
          <a:xfrm>
            <a:off x="2653115" y="2505657"/>
            <a:ext cx="216527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Django &amp; Python to run and manage the code and data 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28170B6-E4AF-D240-8628-4BF286530E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9597" y="1521169"/>
            <a:ext cx="808316" cy="808316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A922B7B-9A10-F64C-8D57-65F569DB902F}"/>
              </a:ext>
            </a:extLst>
          </p:cNvPr>
          <p:cNvCxnSpPr>
            <a:cxnSpLocks/>
          </p:cNvCxnSpPr>
          <p:nvPr/>
        </p:nvCxnSpPr>
        <p:spPr>
          <a:xfrm flipH="1">
            <a:off x="4890774" y="1900460"/>
            <a:ext cx="6134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7D4A7C30-3514-9646-97AB-C273D7882A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18394" y="3206782"/>
            <a:ext cx="1995485" cy="1175423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4534E9E-CB01-534C-B4AD-3F4A1594C6F7}"/>
              </a:ext>
            </a:extLst>
          </p:cNvPr>
          <p:cNvSpPr txBox="1"/>
          <p:nvPr/>
        </p:nvSpPr>
        <p:spPr>
          <a:xfrm>
            <a:off x="6750036" y="3443615"/>
            <a:ext cx="216527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Google Cloud Natural Language Processing SDK to run sentiment analysi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514C19-A3A5-A14F-9AC8-6BDDEBA92EB5}"/>
              </a:ext>
            </a:extLst>
          </p:cNvPr>
          <p:cNvSpPr txBox="1"/>
          <p:nvPr/>
        </p:nvSpPr>
        <p:spPr>
          <a:xfrm>
            <a:off x="5082404" y="5282561"/>
            <a:ext cx="3316557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>
                <a:solidFill>
                  <a:srgbClr val="FF0000"/>
                </a:solidFill>
              </a:rPr>
              <a:t>GITHUB Source Code:</a:t>
            </a:r>
          </a:p>
          <a:p>
            <a:r>
              <a:rPr lang="en-US" sz="1350" dirty="0">
                <a:solidFill>
                  <a:srgbClr val="FF0000"/>
                </a:solidFill>
              </a:rPr>
              <a:t> https://</a:t>
            </a:r>
            <a:r>
              <a:rPr lang="en-US" sz="1350" dirty="0" err="1">
                <a:solidFill>
                  <a:srgbClr val="FF0000"/>
                </a:solidFill>
              </a:rPr>
              <a:t>github.com</a:t>
            </a:r>
            <a:r>
              <a:rPr lang="en-US" sz="1350" dirty="0">
                <a:solidFill>
                  <a:srgbClr val="FF0000"/>
                </a:solidFill>
              </a:rPr>
              <a:t>/</a:t>
            </a:r>
            <a:r>
              <a:rPr lang="en-US" sz="1350" dirty="0" err="1">
                <a:solidFill>
                  <a:srgbClr val="FF0000"/>
                </a:solidFill>
              </a:rPr>
              <a:t>hoteit</a:t>
            </a:r>
            <a:r>
              <a:rPr lang="en-US" sz="1350" dirty="0">
                <a:solidFill>
                  <a:srgbClr val="FF0000"/>
                </a:solidFill>
              </a:rPr>
              <a:t>/courses-sentiment-twee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3B69F1-6713-0949-9E06-AB7ABC4B07B0}"/>
              </a:ext>
            </a:extLst>
          </p:cNvPr>
          <p:cNvSpPr/>
          <p:nvPr/>
        </p:nvSpPr>
        <p:spPr>
          <a:xfrm>
            <a:off x="228649" y="214030"/>
            <a:ext cx="90735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Sentiment Analysis using Google Cloud NLP </a:t>
            </a:r>
            <a:r>
              <a:rPr lang="en-US" dirty="0" err="1">
                <a:solidFill>
                  <a:schemeClr val="tx2"/>
                </a:solidFill>
              </a:rPr>
              <a:t>AutoML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5" name="Picture 14" descr="A screenshot of a cell phone&#13;&#10;&#13;&#10;Description automatically generated">
            <a:extLst>
              <a:ext uri="{FF2B5EF4-FFF2-40B4-BE49-F238E27FC236}">
                <a16:creationId xmlns:a16="http://schemas.microsoft.com/office/drawing/2014/main" id="{4EDB0798-964C-6247-9F3C-FE3363B3A6EF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59000"/>
          </a:blip>
          <a:stretch>
            <a:fillRect/>
          </a:stretch>
        </p:blipFill>
        <p:spPr>
          <a:xfrm>
            <a:off x="-22828" y="3549999"/>
            <a:ext cx="3830962" cy="3262496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B0DF47A-1242-6E4E-97B9-9E0AB0E435F4}"/>
              </a:ext>
            </a:extLst>
          </p:cNvPr>
          <p:cNvCxnSpPr>
            <a:cxnSpLocks/>
          </p:cNvCxnSpPr>
          <p:nvPr/>
        </p:nvCxnSpPr>
        <p:spPr>
          <a:xfrm>
            <a:off x="4448432" y="2307825"/>
            <a:ext cx="633972" cy="7352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33151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66D3CD-B0BE-E442-B9C4-CD25F0420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421" y="914020"/>
            <a:ext cx="8797689" cy="99979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Training Google </a:t>
            </a:r>
            <a:r>
              <a:rPr lang="en-US" dirty="0" err="1">
                <a:solidFill>
                  <a:schemeClr val="accent2"/>
                </a:solidFill>
              </a:rPr>
              <a:t>AutoML</a:t>
            </a:r>
            <a:r>
              <a:rPr lang="en-US" dirty="0">
                <a:solidFill>
                  <a:schemeClr val="accent2"/>
                </a:solidFill>
              </a:rPr>
              <a:t> for 4 hours &amp; $5 to categorize Coursera students reviews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AC4902-7334-3244-B400-E9DA1B1D9D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508" y="2259033"/>
            <a:ext cx="2455679" cy="52462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3D8DBCA-CF49-6443-8EE2-9CAA7AB38EE2}"/>
              </a:ext>
            </a:extLst>
          </p:cNvPr>
          <p:cNvSpPr txBox="1"/>
          <p:nvPr/>
        </p:nvSpPr>
        <p:spPr>
          <a:xfrm>
            <a:off x="696931" y="2922355"/>
            <a:ext cx="243925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Searched for a dataset on</a:t>
            </a:r>
          </a:p>
          <a:p>
            <a:r>
              <a:rPr lang="en-US" sz="1350" dirty="0">
                <a:hlinkClick r:id="rId3"/>
              </a:rPr>
              <a:t>https://toolbox.google.com/datasetsearch</a:t>
            </a:r>
            <a:r>
              <a:rPr lang="en-US" sz="1350" dirty="0"/>
              <a:t>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63D1DD-04E7-464C-B2A0-AC13221EE5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633" y="4206258"/>
            <a:ext cx="1143000" cy="40957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5B5E079-2453-324F-9C16-7D4657BCC4C0}"/>
              </a:ext>
            </a:extLst>
          </p:cNvPr>
          <p:cNvCxnSpPr/>
          <p:nvPr/>
        </p:nvCxnSpPr>
        <p:spPr>
          <a:xfrm>
            <a:off x="1279133" y="3614852"/>
            <a:ext cx="0" cy="5779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10EADA0-F581-7248-8E63-1CA90CC636B6}"/>
              </a:ext>
            </a:extLst>
          </p:cNvPr>
          <p:cNvSpPr txBox="1"/>
          <p:nvPr/>
        </p:nvSpPr>
        <p:spPr>
          <a:xfrm>
            <a:off x="631005" y="4784180"/>
            <a:ext cx="24392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Found “</a:t>
            </a:r>
            <a:r>
              <a:rPr lang="en-US" sz="1350" b="1" dirty="0"/>
              <a:t>100K+ Scraped Course Reviews from the Coursera Website (As of May 2017)</a:t>
            </a:r>
            <a:r>
              <a:rPr lang="en-US" sz="1350" dirty="0"/>
              <a:t> 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F0C889B-4B18-004D-9E5B-A30FEF8568E0}"/>
              </a:ext>
            </a:extLst>
          </p:cNvPr>
          <p:cNvCxnSpPr/>
          <p:nvPr/>
        </p:nvCxnSpPr>
        <p:spPr>
          <a:xfrm flipV="1">
            <a:off x="2935841" y="2413785"/>
            <a:ext cx="824501" cy="220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A6FF5FD-1195-1F49-8213-08E0E3B8E967}"/>
              </a:ext>
            </a:extLst>
          </p:cNvPr>
          <p:cNvSpPr txBox="1"/>
          <p:nvPr/>
        </p:nvSpPr>
        <p:spPr>
          <a:xfrm>
            <a:off x="6524593" y="2009010"/>
            <a:ext cx="2089033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Analyzed the data,</a:t>
            </a:r>
          </a:p>
          <a:p>
            <a:r>
              <a:rPr lang="en-US" sz="1350" dirty="0"/>
              <a:t>cleaned when necessary</a:t>
            </a:r>
          </a:p>
          <a:p>
            <a:r>
              <a:rPr lang="en-US" sz="1350" dirty="0"/>
              <a:t>(pretraining step)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ED168D2-426F-DB4D-AC94-48C7EF34E1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9304" y="1591859"/>
            <a:ext cx="2295632" cy="1181576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357ADAE-D829-4541-9961-6899304C6D1A}"/>
              </a:ext>
            </a:extLst>
          </p:cNvPr>
          <p:cNvCxnSpPr/>
          <p:nvPr/>
        </p:nvCxnSpPr>
        <p:spPr>
          <a:xfrm>
            <a:off x="5267120" y="2911845"/>
            <a:ext cx="0" cy="602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7CA09C2-CC26-044C-ABAA-878840AF316D}"/>
              </a:ext>
            </a:extLst>
          </p:cNvPr>
          <p:cNvSpPr txBox="1"/>
          <p:nvPr/>
        </p:nvSpPr>
        <p:spPr>
          <a:xfrm>
            <a:off x="6868510" y="3557565"/>
            <a:ext cx="2284600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Created Google Cloud</a:t>
            </a:r>
          </a:p>
          <a:p>
            <a:r>
              <a:rPr lang="en-US" sz="1350" dirty="0" err="1"/>
              <a:t>AutoML</a:t>
            </a:r>
            <a:r>
              <a:rPr lang="en-US" sz="1350" dirty="0"/>
              <a:t> project &amp; activated</a:t>
            </a:r>
          </a:p>
          <a:p>
            <a:r>
              <a:rPr lang="en-US" sz="1350" dirty="0"/>
              <a:t>NLP APIs, uploaded data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8B8BD60-5DB0-3940-9F49-A332696A63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97002" y="3610010"/>
            <a:ext cx="2824335" cy="119249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171EFAA-F74A-4044-A563-C40BDD98A9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71025" y="5215823"/>
            <a:ext cx="2997485" cy="47226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112497B-5AB0-F849-AE72-97A2F60BEC91}"/>
              </a:ext>
            </a:extLst>
          </p:cNvPr>
          <p:cNvSpPr txBox="1"/>
          <p:nvPr/>
        </p:nvSpPr>
        <p:spPr>
          <a:xfrm>
            <a:off x="7007706" y="5277625"/>
            <a:ext cx="203139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No AI expertise needed!</a:t>
            </a:r>
          </a:p>
          <a:p>
            <a:endParaRPr lang="en-US" sz="13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C2677C8-E255-6C45-995D-9CD075105235}"/>
              </a:ext>
            </a:extLst>
          </p:cNvPr>
          <p:cNvSpPr txBox="1"/>
          <p:nvPr/>
        </p:nvSpPr>
        <p:spPr>
          <a:xfrm>
            <a:off x="5369767" y="3068762"/>
            <a:ext cx="13099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Dataset impor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5267D17-B75D-EA4C-A7A2-48A8C1EB178C}"/>
              </a:ext>
            </a:extLst>
          </p:cNvPr>
          <p:cNvSpPr txBox="1"/>
          <p:nvPr/>
        </p:nvSpPr>
        <p:spPr>
          <a:xfrm>
            <a:off x="5369766" y="4866181"/>
            <a:ext cx="240001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Train/Evaluate/Predict model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5301652-7740-B24E-95D3-A06B25A9B82D}"/>
              </a:ext>
            </a:extLst>
          </p:cNvPr>
          <p:cNvCxnSpPr>
            <a:cxnSpLocks/>
          </p:cNvCxnSpPr>
          <p:nvPr/>
        </p:nvCxnSpPr>
        <p:spPr>
          <a:xfrm>
            <a:off x="5165663" y="4844872"/>
            <a:ext cx="0" cy="3196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1807A326-31F5-8E42-BDC3-FFC868D2ED74}"/>
              </a:ext>
            </a:extLst>
          </p:cNvPr>
          <p:cNvSpPr/>
          <p:nvPr/>
        </p:nvSpPr>
        <p:spPr>
          <a:xfrm>
            <a:off x="180470" y="272549"/>
            <a:ext cx="84331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The </a:t>
            </a:r>
            <a:r>
              <a:rPr lang="en-US" dirty="0" err="1">
                <a:solidFill>
                  <a:schemeClr val="tx2"/>
                </a:solidFill>
              </a:rPr>
              <a:t>AutoML</a:t>
            </a:r>
            <a:r>
              <a:rPr lang="en-US" dirty="0">
                <a:solidFill>
                  <a:schemeClr val="tx2"/>
                </a:solidFill>
              </a:rPr>
              <a:t> Setup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B3EE7A0-DB52-384B-BD04-04E4B30E0B2A}"/>
              </a:ext>
            </a:extLst>
          </p:cNvPr>
          <p:cNvSpPr txBox="1"/>
          <p:nvPr/>
        </p:nvSpPr>
        <p:spPr>
          <a:xfrm>
            <a:off x="5021462" y="5858915"/>
            <a:ext cx="3316557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>
                <a:solidFill>
                  <a:srgbClr val="FF0000"/>
                </a:solidFill>
              </a:rPr>
              <a:t>GITHUB Source Code:</a:t>
            </a:r>
          </a:p>
          <a:p>
            <a:r>
              <a:rPr lang="en-US" sz="1350" dirty="0">
                <a:solidFill>
                  <a:srgbClr val="FF0000"/>
                </a:solidFill>
              </a:rPr>
              <a:t> https://</a:t>
            </a:r>
            <a:r>
              <a:rPr lang="en-US" sz="1350" dirty="0" err="1">
                <a:solidFill>
                  <a:srgbClr val="FF0000"/>
                </a:solidFill>
              </a:rPr>
              <a:t>github.com</a:t>
            </a:r>
            <a:r>
              <a:rPr lang="en-US" sz="1350" dirty="0">
                <a:solidFill>
                  <a:srgbClr val="FF0000"/>
                </a:solidFill>
              </a:rPr>
              <a:t>/</a:t>
            </a:r>
            <a:r>
              <a:rPr lang="en-US" sz="1350" dirty="0" err="1">
                <a:solidFill>
                  <a:srgbClr val="FF0000"/>
                </a:solidFill>
              </a:rPr>
              <a:t>hoteit</a:t>
            </a:r>
            <a:r>
              <a:rPr lang="en-US" sz="1350" dirty="0">
                <a:solidFill>
                  <a:srgbClr val="FF0000"/>
                </a:solidFill>
              </a:rPr>
              <a:t>/courses-sentiment-tweets</a:t>
            </a:r>
          </a:p>
        </p:txBody>
      </p:sp>
    </p:spTree>
    <p:extLst>
      <p:ext uri="{BB962C8B-B14F-4D97-AF65-F5344CB8AC3E}">
        <p14:creationId xmlns:p14="http://schemas.microsoft.com/office/powerpoint/2010/main" val="21867695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">
  <a:themeElements>
    <a:clrScheme name="TR2">
      <a:dk1>
        <a:srgbClr val="4D4D4D"/>
      </a:dk1>
      <a:lt1>
        <a:sysClr val="window" lastClr="FFFFFF"/>
      </a:lt1>
      <a:dk2>
        <a:srgbClr val="FF8000"/>
      </a:dk2>
      <a:lt2>
        <a:srgbClr val="D0D0D0"/>
      </a:lt2>
      <a:accent1>
        <a:srgbClr val="FF8000"/>
      </a:accent1>
      <a:accent2>
        <a:srgbClr val="4D4D4D"/>
      </a:accent2>
      <a:accent3>
        <a:srgbClr val="FF5900"/>
      </a:accent3>
      <a:accent4>
        <a:srgbClr val="AFAFAF"/>
      </a:accent4>
      <a:accent5>
        <a:srgbClr val="FFA100"/>
      </a:accent5>
      <a:accent6>
        <a:srgbClr val="666666"/>
      </a:accent6>
      <a:hlink>
        <a:srgbClr val="005DA2"/>
      </a:hlink>
      <a:folHlink>
        <a:srgbClr val="621F95"/>
      </a:folHlink>
    </a:clrScheme>
    <a:fontScheme name="T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9" id="{3D63A410-3224-D943-9E1B-3BD950182B25}" vid="{2D0E60D8-AF44-9D4C-A398-8A9D9DE8D6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5C2106DE-6A4B-4743-9F11-83DE2A2F132E}tf10001063</Template>
  <TotalTime>4668</TotalTime>
  <Words>174</Words>
  <Application>Microsoft Macintosh PowerPoint</Application>
  <PresentationFormat>On-screen Show (4:3)</PresentationFormat>
  <Paragraphs>2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Lucida Grande</vt:lpstr>
      <vt:lpstr>Wingdings</vt:lpstr>
      <vt:lpstr>TR</vt:lpstr>
      <vt:lpstr>think-cell Slide</vt:lpstr>
      <vt:lpstr>Built in few hours a Sentiment Analysis on Twitter using Django, Docker containers, Python &amp; Google NLP</vt:lpstr>
      <vt:lpstr>Training Google AutoML for 4 hours &amp; $5 to categorize Coursera students reviews  </vt:lpstr>
    </vt:vector>
  </TitlesOfParts>
  <Company>Thomson Reut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oan Fellows Seminar  Brian Ulicny, Phd Sr. Director, Thomson Reuters Labs  @bulicny</dc:title>
  <dc:creator>Brian Ulicny</dc:creator>
  <cp:lastModifiedBy>Hoteit, Tarek (TR Tech, Content &amp; Ops)</cp:lastModifiedBy>
  <cp:revision>69</cp:revision>
  <dcterms:created xsi:type="dcterms:W3CDTF">2018-04-16T13:33:43Z</dcterms:created>
  <dcterms:modified xsi:type="dcterms:W3CDTF">2018-12-12T15:56:10Z</dcterms:modified>
</cp:coreProperties>
</file>